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C60018"/>
    <a:srgbClr val="767676"/>
    <a:srgbClr val="0079C7"/>
    <a:srgbClr val="E5E5E5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3:26.771" v="50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3:26.771" v="50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A4CFA2F4-FF8D-446B-B271-6DF568DBEADA}" dt="2026-02-12T07:52:44.004" v="43" actId="20577"/>
          <ac:spMkLst>
            <pc:docMk/>
            <pc:sldMk cId="3332483854" sldId="274"/>
            <ac:spMk id="9" creationId="{EDD67ED6-309E-4568-8371-347A20E330D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St. Gallen</c:v>
                </c:pt>
                <c:pt idx="1">
                  <c:v>Olt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Winterthur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77800</c:v>
                </c:pt>
                <c:pt idx="1">
                  <c:v>78300</c:v>
                </c:pt>
                <c:pt idx="2">
                  <c:v>78500</c:v>
                </c:pt>
                <c:pt idx="3">
                  <c:v>93000</c:v>
                </c:pt>
                <c:pt idx="4">
                  <c:v>118300</c:v>
                </c:pt>
                <c:pt idx="5">
                  <c:v>132300</c:v>
                </c:pt>
                <c:pt idx="6">
                  <c:v>134400</c:v>
                </c:pt>
                <c:pt idx="7">
                  <c:v>141800</c:v>
                </c:pt>
                <c:pt idx="8">
                  <c:v>153800</c:v>
                </c:pt>
                <c:pt idx="9">
                  <c:v>183000</c:v>
                </c:pt>
                <c:pt idx="10">
                  <c:v>310200</c:v>
                </c:pt>
                <c:pt idx="11">
                  <c:v>42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4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St. Gallen</c:v>
                      </c:pt>
                      <c:pt idx="1">
                        <c:v>Olt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Winterthur</c:v>
                      </c:pt>
                      <c:pt idx="6">
                        <c:v>Lausanne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77400</c:v>
                      </c:pt>
                      <c:pt idx="1">
                        <c:v>69600</c:v>
                      </c:pt>
                      <c:pt idx="2">
                        <c:v>78600</c:v>
                      </c:pt>
                      <c:pt idx="3">
                        <c:v>84500</c:v>
                      </c:pt>
                      <c:pt idx="4">
                        <c:v>113800</c:v>
                      </c:pt>
                      <c:pt idx="5">
                        <c:v>134700</c:v>
                      </c:pt>
                      <c:pt idx="6">
                        <c:v>127900</c:v>
                      </c:pt>
                      <c:pt idx="7">
                        <c:v>140900</c:v>
                      </c:pt>
                      <c:pt idx="8">
                        <c:v>145400</c:v>
                      </c:pt>
                      <c:pt idx="9">
                        <c:v>173100</c:v>
                      </c:pt>
                      <c:pt idx="10">
                        <c:v>298900</c:v>
                      </c:pt>
                      <c:pt idx="11">
                        <c:v>4052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Bahnhofbenutzer.</a:t>
            </a:r>
            <a:br>
              <a:rPr lang="de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63734" y="5876925"/>
            <a:ext cx="6093843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CH" sz="1100" kern="0" dirty="0">
                <a:solidFill>
                  <a:srgbClr val="444444"/>
                </a:solidFill>
              </a:rPr>
              <a:t>Bahnhofbenutzer: Passagiere der Bahn und des ÖV, Kunden der Geschäfte im Bahnhof, Passante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554689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H" sz="1400" spc="30" dirty="0">
                <a:solidFill>
                  <a:schemeClr val="accent3"/>
                </a:solidFill>
              </a:rPr>
              <a:t>Durchschnittliche Anzahl Personenbewegungen pro </a:t>
            </a:r>
            <a:r>
              <a:rPr lang="de-CH" sz="1400" spc="30">
                <a:solidFill>
                  <a:schemeClr val="accent3"/>
                </a:solidFill>
              </a:rPr>
              <a:t>Werktag im Jahr 2025</a:t>
            </a:r>
            <a:r>
              <a:rPr lang="de-CH" sz="1400" spc="30" dirty="0">
                <a:solidFill>
                  <a:schemeClr val="accent3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9048D4-87EE-46E6-9133-8579679765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ahnhofbenutzer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hofbenutzer._x000b_</dc:title>
  <dc:creator>Meyer Raphael (KOM-PGA-VSF)</dc:creator>
  <cp:lastModifiedBy>Weigel Stefan (PAR-EPS)</cp:lastModifiedBy>
  <cp:revision>37</cp:revision>
  <dcterms:created xsi:type="dcterms:W3CDTF">2020-09-30T11:00:09Z</dcterms:created>
  <dcterms:modified xsi:type="dcterms:W3CDTF">2026-03-03T13:1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